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6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35-4B8C-8C51-D10FD6567D5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35-4B8C-8C51-D10FD6567D5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35-4B8C-8C51-D10FD6567D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36A8D-1C9F-8BDE-E137-943DA513FA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7D05B3-2E51-F716-2A24-87C67332E7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B4C204-7791-914F-09D9-863CFD3C67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4F5E85-1280-CBAE-943D-79D6FA36C9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621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4235D-FA20-88C1-16C6-3468AC0A7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72D6931-AE91-E758-2A40-6D86184EFD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2D6931-AE91-E758-2A40-6D86184EFD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07BA90EB-1FA8-0FE5-94CC-CC98F7901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100% Stacked Column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61FE88B-DF6B-53FE-6CC7-2A4ECDF46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210BC4EB-88F1-7784-BDBB-E0E6495015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DF04666-AA81-104B-6776-08BF19036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C9F34A04-9E77-1D1E-06AC-D84C68097FA1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E69CC3CB-A526-2E27-D369-3750CEAE51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AA07C754-5BB7-0A43-0A64-21342CBF84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7916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1</TotalTime>
  <Words>89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100% Stacked Column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99</cp:revision>
  <dcterms:created xsi:type="dcterms:W3CDTF">2025-07-09T10:57:17Z</dcterms:created>
  <dcterms:modified xsi:type="dcterms:W3CDTF">2025-10-22T09:56:33Z</dcterms:modified>
  <cp:category/>
</cp:coreProperties>
</file>